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1"/>
  </p:sldMasterIdLst>
  <p:sldIdLst>
    <p:sldId id="262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78" d="100"/>
          <a:sy n="78" d="100"/>
        </p:scale>
        <p:origin x="1594" y="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202785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 August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AFF03A35-F97D-4842-B6D9-99AFA4747D8B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84207532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iminate costly downtime for lubrication and preserve equipment efficiency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43510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dirty="0"/>
              <a:t>Central automatic lubrication system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ue: Efficienc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ment: Aseptic fillers (</a:t>
            </a:r>
            <a:r>
              <a:rPr kumimoji="0" lang="en-GB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Ma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alogue code: SP002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9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duced maintenance times: On average, </a:t>
                      </a:r>
                      <a:br>
                        <a:rPr lang="en-US" altLang="de-DE" sz="1200" b="0" noProof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de-DE" sz="1200" b="0" noProof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 minutes for every 1,500 production hours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move risk associated with build-up of grease on moving parts 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serve equipment efficiency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automatic lubrication system eliminates the risk of moving parts on the filler which have not been lubricated, thus fully complying with Sidel best-practice operation guidelines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system is managed by the machine PLC which lubricates various points on the machine at preset intervals on the basis of machine rotation tim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nual lubrication can be performed in the event </a:t>
                      </a:r>
                      <a:b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f a PLC fault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8084" y="3996796"/>
            <a:ext cx="2904945" cy="17279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hteck 11">
            <a:extLst>
              <a:ext uri="{FF2B5EF4-FFF2-40B4-BE49-F238E27FC236}">
                <a16:creationId xmlns:a16="http://schemas.microsoft.com/office/drawing/2014/main" id="{3F787077-1122-4856-B9B7-6F200B6C04D6}"/>
              </a:ext>
            </a:extLst>
          </p:cNvPr>
          <p:cNvSpPr/>
          <p:nvPr/>
        </p:nvSpPr>
        <p:spPr>
          <a:xfrm>
            <a:off x="4759900" y="1743075"/>
            <a:ext cx="3889375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17152451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9</Words>
  <Application>Microsoft Office PowerPoint</Application>
  <PresentationFormat>Affichage à l'écran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ＭＳ Ｐゴシック</vt:lpstr>
      <vt:lpstr>Arial</vt:lpstr>
      <vt:lpstr>Wingdings</vt:lpstr>
      <vt:lpstr>LIOMT</vt:lpstr>
      <vt:lpstr>think-cell Folie</vt:lpstr>
      <vt:lpstr>Eliminate costly downtime for lubrication and preserve equipment efficiency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减少产品灌装流量偏差</dc:title>
  <dc:creator>Gouriou, Lydie</dc:creator>
  <cp:lastModifiedBy>Sorega, Dan</cp:lastModifiedBy>
  <cp:revision>7</cp:revision>
  <dcterms:created xsi:type="dcterms:W3CDTF">2014-07-21T08:52:21Z</dcterms:created>
  <dcterms:modified xsi:type="dcterms:W3CDTF">2019-08-19T12:21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08-19T12:21:40.1868954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6T11:02:42.835679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6T11:02:42.841679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